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8"/>
  </p:notesMasterIdLst>
  <p:handoutMasterIdLst>
    <p:handoutMasterId r:id="rId29"/>
  </p:handoutMasterIdLst>
  <p:sldIdLst>
    <p:sldId id="265" r:id="rId5"/>
    <p:sldId id="259" r:id="rId6"/>
    <p:sldId id="280" r:id="rId7"/>
    <p:sldId id="307" r:id="rId8"/>
    <p:sldId id="308" r:id="rId9"/>
    <p:sldId id="309" r:id="rId10"/>
    <p:sldId id="310" r:id="rId11"/>
    <p:sldId id="325" r:id="rId12"/>
    <p:sldId id="312" r:id="rId13"/>
    <p:sldId id="313" r:id="rId14"/>
    <p:sldId id="314" r:id="rId15"/>
    <p:sldId id="315" r:id="rId16"/>
    <p:sldId id="316" r:id="rId17"/>
    <p:sldId id="317" r:id="rId18"/>
    <p:sldId id="318" r:id="rId19"/>
    <p:sldId id="319" r:id="rId20"/>
    <p:sldId id="320" r:id="rId21"/>
    <p:sldId id="321" r:id="rId22"/>
    <p:sldId id="322" r:id="rId23"/>
    <p:sldId id="323" r:id="rId24"/>
    <p:sldId id="324" r:id="rId25"/>
    <p:sldId id="292" r:id="rId26"/>
    <p:sldId id="294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75133" autoAdjust="0"/>
  </p:normalViewPr>
  <p:slideViewPr>
    <p:cSldViewPr snapToGrid="0" showGuides="1">
      <p:cViewPr varScale="1">
        <p:scale>
          <a:sx n="54" d="100"/>
          <a:sy n="54" d="100"/>
        </p:scale>
        <p:origin x="-1794" y="-96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826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SQL Server Reporting Services			SSRS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2012 Feature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ajor Enhancement in SSRS 2012 are, taking ad-hoc reporting to the next level of experience, tying it up with </a:t>
            </a:r>
            <a:r>
              <a:rPr lang="en-US" dirty="0" err="1" smtClean="0"/>
              <a:t>Sharepoint</a:t>
            </a:r>
            <a:r>
              <a:rPr lang="en-US" dirty="0" smtClean="0"/>
              <a:t> Server to render, by Power Views and Data Alerts</a:t>
            </a:r>
          </a:p>
          <a:p>
            <a:r>
              <a:rPr lang="en-US" dirty="0" smtClean="0"/>
              <a:t>Power View, a feature of SQL Server 2012 Reporting Services Add-in for Microsoft SharePoint Server 2010 Enterprise Edition, is an interactive data exploration, visualization, and presentation experience.</a:t>
            </a:r>
          </a:p>
          <a:p>
            <a:r>
              <a:rPr lang="en-US" dirty="0" smtClean="0"/>
              <a:t>It provides drag-and-drop ad hoc reporting for business users such as data analysts, business decision makers, and information workers.</a:t>
            </a:r>
          </a:p>
          <a:p>
            <a:r>
              <a:rPr lang="en-US" dirty="0" smtClean="0"/>
              <a:t>Power View reports are in a new file format, RDLX.</a:t>
            </a:r>
          </a:p>
          <a:p>
            <a:r>
              <a:rPr lang="en-US" dirty="0" smtClean="0"/>
              <a:t>Data alerts are a data-driven alerting solution that informs user about changes in report data that are of interest to user, and at a relevant tim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ultidimensional</a:t>
            </a:r>
            <a:r>
              <a:rPr lang="en-US" baseline="0" dirty="0" smtClean="0"/>
              <a:t> Data Source</a:t>
            </a:r>
          </a:p>
          <a:p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 multidimensional data source is optimized for analyzing large amounts of data. </a:t>
            </a:r>
            <a:r>
              <a:rPr lang="en-US" sz="1000" b="0" i="0" kern="120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uch data sources are sometimes called data warehouses, or online analytical processing (OLAP) data sources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5886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359790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774092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34925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167088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14925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5134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8820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743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15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161257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273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7435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04452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48958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2893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0227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97804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429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SSRS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Lesson 7:SSRS 2012 Features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3: Configuring SQL Server 2012 Reporting Services</a:t>
            </a:r>
            <a:br>
              <a:rPr lang="en-US" sz="1200" b="1" dirty="0" smtClean="0"/>
            </a:br>
            <a:r>
              <a:rPr lang="en-US" dirty="0" smtClean="0"/>
              <a:t>Configuring SSRS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776" y="1405720"/>
            <a:ext cx="6127846" cy="4648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22967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 smtClean="0"/>
              <a:t>7.3: Configuring SQL Server 2012 Reporting Services</a:t>
            </a:r>
            <a:br>
              <a:rPr lang="en-US" sz="1200" b="1" dirty="0" smtClean="0"/>
            </a:br>
            <a:r>
              <a:rPr lang="en-US" dirty="0" smtClean="0"/>
              <a:t>Configuring SSRS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ick on Connect. The connection will be established to the server.</a:t>
            </a:r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9242" y="1957742"/>
            <a:ext cx="5964071" cy="4149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2291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 smtClean="0"/>
              <a:t>7.3: Configuring SQL Server 2012 Reporting Services</a:t>
            </a:r>
            <a:br>
              <a:rPr lang="en-US" sz="1200" b="1" dirty="0" smtClean="0"/>
            </a:br>
            <a:r>
              <a:rPr lang="en-US" dirty="0" smtClean="0"/>
              <a:t>Configuring SSRS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ick on Service Account on left, which will opens default built – in account</a:t>
            </a:r>
            <a:endParaRPr lang="en-US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5007" y="2207668"/>
            <a:ext cx="5648325" cy="3752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72150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3: Configuring SQL Server 2012 Reporting Services</a:t>
            </a:r>
            <a:br>
              <a:rPr lang="en-US" sz="1200" b="1" dirty="0" smtClean="0"/>
            </a:br>
            <a:r>
              <a:rPr lang="en-US" dirty="0" smtClean="0"/>
              <a:t>Configuring SSRS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ick on Web Service URL, which will opens Web Service URL Page</a:t>
            </a:r>
            <a:endParaRPr lang="en-US" dirty="0"/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537" y="2068987"/>
            <a:ext cx="6638925" cy="364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8936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3: Configuring SQL Server 2012 Reporting Services</a:t>
            </a:r>
            <a:br>
              <a:rPr lang="en-US" sz="1200" b="1" dirty="0" smtClean="0"/>
            </a:br>
            <a:r>
              <a:rPr lang="en-US" dirty="0" smtClean="0"/>
              <a:t>Configuring SSRS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ick on Report Manager URL</a:t>
            </a:r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6388" y="2237601"/>
            <a:ext cx="5991225" cy="322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5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3: Configuring SQL Server 2012 Reporting Services</a:t>
            </a:r>
            <a:br>
              <a:rPr lang="en-US" sz="1200" b="1" dirty="0" smtClean="0"/>
            </a:br>
            <a:r>
              <a:rPr lang="en-US" dirty="0" smtClean="0"/>
              <a:t>Configuring SSRS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ick on the hyperlink. The home page of Report Manager will be displayed</a:t>
            </a:r>
            <a:endParaRPr lang="en-US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38" y="2438400"/>
            <a:ext cx="8010525" cy="198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2596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4: Report Manager</a:t>
            </a:r>
            <a:br>
              <a:rPr lang="en-US" sz="1200" b="1" dirty="0" smtClean="0"/>
            </a:br>
            <a:r>
              <a:rPr lang="en-US" dirty="0" smtClean="0"/>
              <a:t>Report Manager User Interface</a:t>
            </a:r>
            <a:endParaRPr lang="en-US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38" y="2390775"/>
            <a:ext cx="8010525" cy="2076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2480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 smtClean="0"/>
              <a:t>7.5: Working with Report Builder 3.0</a:t>
            </a:r>
            <a:br>
              <a:rPr lang="en-US" sz="1200" b="1" dirty="0" smtClean="0"/>
            </a:br>
            <a:r>
              <a:rPr lang="en-US" dirty="0" smtClean="0"/>
              <a:t>Tabular Report using Report Builder</a:t>
            </a:r>
            <a:endParaRPr lang="en-US" dirty="0"/>
          </a:p>
        </p:txBody>
      </p:sp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929" y="1475521"/>
            <a:ext cx="5022376" cy="2270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1151" y="4191142"/>
            <a:ext cx="4257675" cy="131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15750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 smtClean="0"/>
              <a:t>7.5: Working with Report Builder 3.0</a:t>
            </a:r>
            <a:br>
              <a:rPr lang="en-US" sz="1200" b="1" dirty="0" smtClean="0"/>
            </a:br>
            <a:r>
              <a:rPr lang="en-US" dirty="0" smtClean="0"/>
              <a:t>Tabular Report using Report Builder</a:t>
            </a:r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380" y="1481138"/>
            <a:ext cx="5718412" cy="4745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09448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5: Working with Report Builder 3.0</a:t>
            </a:r>
            <a:br>
              <a:rPr lang="en-US" sz="1200" b="1" dirty="0" smtClean="0"/>
            </a:br>
            <a:r>
              <a:rPr lang="en-US" dirty="0" smtClean="0"/>
              <a:t>List Report using Report Builder</a:t>
            </a:r>
            <a:endParaRPr lang="en-US" dirty="0"/>
          </a:p>
        </p:txBody>
      </p:sp>
      <p:pic>
        <p:nvPicPr>
          <p:cNvPr id="317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1528763"/>
            <a:ext cx="8429625" cy="3800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457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will learn</a:t>
            </a:r>
            <a:endParaRPr lang="en-US" dirty="0"/>
          </a:p>
          <a:p>
            <a:pPr lvl="1"/>
            <a:r>
              <a:rPr lang="en-US" dirty="0" smtClean="0"/>
              <a:t>New Features of SSRS 2012</a:t>
            </a:r>
          </a:p>
          <a:p>
            <a:pPr lvl="1"/>
            <a:r>
              <a:rPr lang="en-US" dirty="0" smtClean="0"/>
              <a:t>Report Server</a:t>
            </a:r>
          </a:p>
          <a:p>
            <a:pPr lvl="1"/>
            <a:r>
              <a:rPr lang="en-US" dirty="0" smtClean="0"/>
              <a:t>Configuring SQL Server 2012 Reporting Services</a:t>
            </a:r>
          </a:p>
          <a:p>
            <a:pPr lvl="1"/>
            <a:r>
              <a:rPr lang="en-US" dirty="0" smtClean="0"/>
              <a:t>Report Manager</a:t>
            </a:r>
          </a:p>
          <a:p>
            <a:pPr lvl="1"/>
            <a:r>
              <a:rPr lang="en-US" dirty="0" smtClean="0"/>
              <a:t>Working with Report Builder 3.0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5: Working with Report Builder 3.0</a:t>
            </a:r>
            <a:br>
              <a:rPr lang="en-US" sz="1200" b="1" dirty="0" smtClean="0"/>
            </a:br>
            <a:r>
              <a:rPr lang="en-US" dirty="0" smtClean="0"/>
              <a:t>Sub Report using Report Builder with Parameter</a:t>
            </a:r>
            <a:endParaRPr lang="en-US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625" y="1251187"/>
            <a:ext cx="6000750" cy="4819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6514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5: Working with Report Builder 3.0</a:t>
            </a:r>
            <a:br>
              <a:rPr lang="en-US" sz="1200" b="1" dirty="0" smtClean="0"/>
            </a:br>
            <a:r>
              <a:rPr lang="en-US" dirty="0" smtClean="0"/>
              <a:t>Displaying </a:t>
            </a:r>
            <a:r>
              <a:rPr lang="en-US" dirty="0" err="1" smtClean="0"/>
              <a:t>DataBar</a:t>
            </a:r>
            <a:r>
              <a:rPr lang="en-US" dirty="0" smtClean="0"/>
              <a:t> using Report Builder</a:t>
            </a:r>
            <a:endParaRPr lang="en-US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6723" y="1571625"/>
            <a:ext cx="3370216" cy="4455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0792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 smtClean="0"/>
              <a:t>7.5: Working with Report Builder 3.0</a:t>
            </a:r>
            <a:br>
              <a:rPr lang="en-US" sz="1200" b="1" dirty="0" smtClean="0"/>
            </a:br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ports using Report Builde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t:</a:t>
            </a:r>
          </a:p>
          <a:p>
            <a:pPr lvl="1"/>
            <a:r>
              <a:rPr lang="en-US" dirty="0" smtClean="0"/>
              <a:t>New </a:t>
            </a:r>
            <a:r>
              <a:rPr lang="en-US" dirty="0"/>
              <a:t>Features of SSRS 2012</a:t>
            </a:r>
          </a:p>
          <a:p>
            <a:pPr lvl="1"/>
            <a:r>
              <a:rPr lang="en-US" dirty="0" smtClean="0"/>
              <a:t>Configuring </a:t>
            </a:r>
            <a:r>
              <a:rPr lang="en-US" dirty="0"/>
              <a:t>SQL Server 2012 Reporting Services</a:t>
            </a:r>
          </a:p>
          <a:p>
            <a:pPr lvl="1"/>
            <a:r>
              <a:rPr lang="en-US" dirty="0" smtClean="0"/>
              <a:t>Working </a:t>
            </a:r>
            <a:r>
              <a:rPr lang="en-US" dirty="0"/>
              <a:t>with Report Builder 3.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 smtClean="0"/>
              <a:t>7.1</a:t>
            </a:r>
            <a:r>
              <a:rPr lang="en-US" sz="1200" b="1" dirty="0"/>
              <a:t>: </a:t>
            </a:r>
            <a:r>
              <a:rPr lang="en-US" sz="1200" b="1" dirty="0" smtClean="0"/>
              <a:t>New Features in SSRS 2012</a:t>
            </a:r>
            <a:br>
              <a:rPr lang="en-US" sz="1200" b="1" dirty="0" smtClean="0"/>
            </a:br>
            <a:r>
              <a:rPr lang="en-US" dirty="0" smtClean="0"/>
              <a:t>New Features in SSRS 2012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SQL Server 2012</a:t>
            </a:r>
            <a:r>
              <a:rPr lang="en-US" smtClean="0"/>
              <a:t>, SQL </a:t>
            </a:r>
            <a:r>
              <a:rPr lang="en-US" dirty="0" smtClean="0"/>
              <a:t>Server Data Tools (SSDT) is an add-in to Visual Studio 2010.</a:t>
            </a:r>
          </a:p>
          <a:p>
            <a:r>
              <a:rPr lang="en-US" dirty="0" smtClean="0"/>
              <a:t>Report Server Projects created using SQL Server 2008 R2 (BID Studio) can be opened directly into SSDT.</a:t>
            </a:r>
          </a:p>
          <a:p>
            <a:r>
              <a:rPr lang="en-US" dirty="0" smtClean="0"/>
              <a:t>In SSRS 2012, reports will be rendered in excel document which is compatible with Microsoft Excel 2007 – 2010 as well as Microsoft Excel 2003. The file extension will be .</a:t>
            </a:r>
            <a:r>
              <a:rPr lang="en-US" dirty="0" err="1" smtClean="0"/>
              <a:t>xlsx</a:t>
            </a:r>
            <a:r>
              <a:rPr lang="en-US" dirty="0" smtClean="0"/>
              <a:t>.</a:t>
            </a:r>
          </a:p>
          <a:p>
            <a:r>
              <a:rPr lang="en-US" dirty="0"/>
              <a:t>In SSRS 2012, reports will be rendered in </a:t>
            </a:r>
            <a:r>
              <a:rPr lang="en-US" dirty="0" smtClean="0"/>
              <a:t>word document </a:t>
            </a:r>
            <a:r>
              <a:rPr lang="en-US" dirty="0"/>
              <a:t>which is compatible with Microsoft </a:t>
            </a:r>
            <a:r>
              <a:rPr lang="en-US" dirty="0" smtClean="0"/>
              <a:t>Word 2007 </a:t>
            </a:r>
            <a:r>
              <a:rPr lang="en-US" dirty="0"/>
              <a:t>– 2010 as well as Microsoft </a:t>
            </a:r>
            <a:r>
              <a:rPr lang="en-US" dirty="0" smtClean="0"/>
              <a:t>Word 2003. The file extension will be .</a:t>
            </a:r>
            <a:r>
              <a:rPr lang="en-US" dirty="0" err="1" smtClean="0"/>
              <a:t>docx</a:t>
            </a:r>
            <a:r>
              <a:rPr lang="en-US" dirty="0" smtClean="0"/>
              <a:t>.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1</a:t>
            </a:r>
            <a:r>
              <a:rPr lang="en-US" sz="1200" b="1" dirty="0"/>
              <a:t>: </a:t>
            </a:r>
            <a:r>
              <a:rPr lang="en-US" sz="1200" b="1" dirty="0" smtClean="0"/>
              <a:t>New Features in SSRS 2012</a:t>
            </a:r>
            <a:br>
              <a:rPr lang="en-US" sz="1200" b="1" dirty="0" smtClean="0"/>
            </a:br>
            <a:r>
              <a:rPr lang="en-US" dirty="0" smtClean="0"/>
              <a:t>New Features in SSRS 2012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jor Enhancement in SSRS 2012 are, taking ad-hoc reporting to the next level of experience tying it up with </a:t>
            </a:r>
            <a:r>
              <a:rPr lang="en-US" dirty="0" err="1" smtClean="0"/>
              <a:t>Sharepoint</a:t>
            </a:r>
            <a:r>
              <a:rPr lang="en-US" dirty="0" smtClean="0"/>
              <a:t> Server to render, by Power Views and Data Alerts</a:t>
            </a:r>
          </a:p>
          <a:p>
            <a:r>
              <a:rPr lang="en-US" dirty="0" smtClean="0"/>
              <a:t>Power </a:t>
            </a:r>
            <a:r>
              <a:rPr lang="en-US" dirty="0"/>
              <a:t>View, </a:t>
            </a:r>
            <a:r>
              <a:rPr lang="en-US" dirty="0" smtClean="0"/>
              <a:t>is </a:t>
            </a:r>
            <a:r>
              <a:rPr lang="en-US" dirty="0"/>
              <a:t>an interactive data exploration, visualization, and presentation </a:t>
            </a:r>
            <a:r>
              <a:rPr lang="en-US" dirty="0" smtClean="0"/>
              <a:t>experience.</a:t>
            </a:r>
          </a:p>
          <a:p>
            <a:r>
              <a:rPr lang="en-US" dirty="0" smtClean="0"/>
              <a:t>Data </a:t>
            </a:r>
            <a:r>
              <a:rPr lang="en-US" dirty="0"/>
              <a:t>alerts are a data-driven alerting solution that informs </a:t>
            </a:r>
            <a:r>
              <a:rPr lang="en-US" dirty="0" smtClean="0"/>
              <a:t>user about </a:t>
            </a:r>
            <a:r>
              <a:rPr lang="en-US" dirty="0"/>
              <a:t>changes in report </a:t>
            </a:r>
            <a:r>
              <a:rPr lang="en-US" dirty="0" smtClean="0"/>
              <a:t>data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8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 smtClean="0"/>
              <a:t>7.1</a:t>
            </a:r>
            <a:r>
              <a:rPr lang="en-US" sz="1200" b="1" dirty="0"/>
              <a:t>: </a:t>
            </a:r>
            <a:r>
              <a:rPr lang="en-US" sz="1200" b="1" dirty="0" smtClean="0"/>
              <a:t>New Features in SSRS 2012</a:t>
            </a:r>
            <a:br>
              <a:rPr lang="en-US" sz="1200" b="1" dirty="0" smtClean="0"/>
            </a:br>
            <a:r>
              <a:rPr lang="en-US" dirty="0" smtClean="0"/>
              <a:t>New Features in SSRS 2012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rehensive reporting functionality, including the services of </a:t>
            </a:r>
            <a:r>
              <a:rPr lang="en-US" dirty="0" smtClean="0"/>
              <a:t>SharePoint</a:t>
            </a:r>
          </a:p>
          <a:p>
            <a:r>
              <a:rPr lang="en-US" dirty="0" smtClean="0"/>
              <a:t>Data acquisition from a variety of data sources</a:t>
            </a:r>
          </a:p>
          <a:p>
            <a:r>
              <a:rPr lang="en-US" dirty="0" smtClean="0"/>
              <a:t>Complete integration with Microsoft Visual Studio and SharePoint Server Environments</a:t>
            </a:r>
          </a:p>
          <a:p>
            <a:r>
              <a:rPr lang="en-US" dirty="0" smtClean="0"/>
              <a:t>One can create interactive, tabular, graphical or free-form reports from relational, multidimensional, or XML data sources</a:t>
            </a:r>
          </a:p>
        </p:txBody>
      </p:sp>
    </p:spTree>
    <p:extLst>
      <p:ext uri="{BB962C8B-B14F-4D97-AF65-F5344CB8AC3E}">
        <p14:creationId xmlns:p14="http://schemas.microsoft.com/office/powerpoint/2010/main" val="455207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1</a:t>
            </a:r>
            <a:r>
              <a:rPr lang="en-US" sz="1200" b="1" dirty="0"/>
              <a:t>: </a:t>
            </a:r>
            <a:r>
              <a:rPr lang="en-US" sz="1200" b="1" dirty="0" smtClean="0"/>
              <a:t>New Features in SSRS 2012</a:t>
            </a:r>
            <a:br>
              <a:rPr lang="en-US" sz="1200" b="1" dirty="0" smtClean="0"/>
            </a:br>
            <a:r>
              <a:rPr lang="en-US" dirty="0" smtClean="0"/>
              <a:t>New Features in SSRS 2012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ich data visualization of data from the preceding sources is possible, including charts, </a:t>
            </a:r>
            <a:r>
              <a:rPr lang="en-US" dirty="0" err="1" smtClean="0"/>
              <a:t>sparkline</a:t>
            </a:r>
            <a:r>
              <a:rPr lang="en-US" dirty="0" smtClean="0"/>
              <a:t>, data bars and maps</a:t>
            </a:r>
          </a:p>
          <a:p>
            <a:r>
              <a:rPr lang="en-US" dirty="0" smtClean="0"/>
              <a:t>Publish immediately or schedule reports or access reports on demand</a:t>
            </a:r>
          </a:p>
          <a:p>
            <a:r>
              <a:rPr lang="en-US" dirty="0" smtClean="0"/>
              <a:t>Reports can be accessed over the Web or from a SharePoint site</a:t>
            </a:r>
          </a:p>
          <a:p>
            <a:r>
              <a:rPr lang="en-US" dirty="0" smtClean="0"/>
              <a:t>Data alert feature when used with reports published to SharePoint can send e-mail aler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669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2: Report Server</a:t>
            </a:r>
            <a:br>
              <a:rPr lang="en-US" sz="1200" b="1" dirty="0" smtClean="0"/>
            </a:br>
            <a:r>
              <a:rPr lang="en-US" dirty="0" smtClean="0"/>
              <a:t>Report Serv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Report Server is the centerpiece of the Reporting Services </a:t>
            </a:r>
            <a:r>
              <a:rPr lang="en-US" dirty="0" smtClean="0"/>
              <a:t>installation.</a:t>
            </a:r>
          </a:p>
          <a:p>
            <a:r>
              <a:rPr lang="en-US" dirty="0" smtClean="0"/>
              <a:t>This installation </a:t>
            </a:r>
            <a:r>
              <a:rPr lang="en-US" dirty="0"/>
              <a:t>can be deployed in two modes, namely, Native mode or </a:t>
            </a:r>
            <a:r>
              <a:rPr lang="en-US" dirty="0" smtClean="0"/>
              <a:t>SharePoint Integrated mode.</a:t>
            </a:r>
          </a:p>
          <a:p>
            <a:r>
              <a:rPr lang="en-US" dirty="0" smtClean="0"/>
              <a:t>Each </a:t>
            </a:r>
            <a:r>
              <a:rPr lang="en-US" dirty="0"/>
              <a:t>mode has a separate engine and an extensible architecture.</a:t>
            </a:r>
          </a:p>
          <a:p>
            <a:r>
              <a:rPr lang="en-US" dirty="0"/>
              <a:t>It consists of a collection of special-purpose extensions that handle </a:t>
            </a:r>
            <a:r>
              <a:rPr lang="en-US" dirty="0" smtClean="0"/>
              <a:t>authentication, data </a:t>
            </a:r>
            <a:r>
              <a:rPr lang="en-US" dirty="0"/>
              <a:t>processing, rendering, and delivery </a:t>
            </a:r>
            <a:r>
              <a:rPr lang="en-US" dirty="0" smtClean="0"/>
              <a:t>operations.</a:t>
            </a:r>
          </a:p>
          <a:p>
            <a:r>
              <a:rPr lang="en-US" dirty="0" smtClean="0"/>
              <a:t>Once </a:t>
            </a:r>
            <a:r>
              <a:rPr lang="en-US" dirty="0"/>
              <a:t>deployed in one </a:t>
            </a:r>
            <a:r>
              <a:rPr lang="en-US" dirty="0" smtClean="0"/>
              <a:t>mode it </a:t>
            </a:r>
            <a:r>
              <a:rPr lang="en-US" dirty="0"/>
              <a:t>cannot be changed to the other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484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2: Report Server</a:t>
            </a:r>
            <a:br>
              <a:rPr lang="en-US" sz="1200" b="1" dirty="0" smtClean="0"/>
            </a:br>
            <a:r>
              <a:rPr lang="en-US" dirty="0" smtClean="0"/>
              <a:t>Report Server 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009651" y="1362075"/>
            <a:ext cx="6762749" cy="4705131"/>
            <a:chOff x="1009651" y="1362075"/>
            <a:chExt cx="6762749" cy="4705131"/>
          </a:xfrm>
        </p:grpSpPr>
        <p:pic>
          <p:nvPicPr>
            <p:cNvPr id="2150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51" y="1362075"/>
              <a:ext cx="6762749" cy="47051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tangle 1"/>
            <p:cNvSpPr/>
            <p:nvPr/>
          </p:nvSpPr>
          <p:spPr>
            <a:xfrm>
              <a:off x="2819400" y="3981450"/>
              <a:ext cx="2362200" cy="152400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680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b="1" dirty="0"/>
              <a:t>7</a:t>
            </a:r>
            <a:r>
              <a:rPr lang="en-US" sz="1200" b="1" dirty="0" smtClean="0"/>
              <a:t>.3: Configuring SQL Server 2012 Reporting Services</a:t>
            </a:r>
            <a:br>
              <a:rPr lang="en-US" sz="1200" b="1" dirty="0" smtClean="0"/>
            </a:br>
            <a:r>
              <a:rPr lang="en-US" dirty="0" smtClean="0"/>
              <a:t>Configuring SSR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en user install report services in Native mode, at that time Reporting Services Report Server and Report Manager can be accessed by authenticated users.</a:t>
            </a:r>
          </a:p>
          <a:p>
            <a:r>
              <a:rPr lang="en-US" dirty="0" smtClean="0"/>
              <a:t>Reports generated using Report Builder 3 can be deployed to the Report Server</a:t>
            </a:r>
          </a:p>
          <a:p>
            <a:r>
              <a:rPr lang="en-US" dirty="0" smtClean="0"/>
              <a:t>Click on Start &gt;&gt; All Programs &gt;&gt; Microsoft SQL Server 2012 &gt;&gt; Configuration Tools &gt;&gt; Reporting Services Configuration Manager</a:t>
            </a:r>
          </a:p>
          <a:p>
            <a:r>
              <a:rPr lang="en-US" dirty="0" smtClean="0"/>
              <a:t>The Reporting Services Configuration Manager window opens and the installed Report Server is automatically discove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28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3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Class book</Material_x0020_Type>
    <Category xmlns="6ba37514-8ea7-4bb7-b1c0-6137f91cbe04">Module Artifact</Category>
    <Level xmlns="6ba37514-8ea7-4bb7-b1c0-6137f91cbe04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267181-0A1F-4A41-9C89-3FB22AC302FD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40</TotalTime>
  <Words>965</Words>
  <Application>Microsoft Office PowerPoint</Application>
  <PresentationFormat>On-screen Show (4:3)</PresentationFormat>
  <Paragraphs>97</Paragraphs>
  <Slides>23</Slides>
  <Notes>2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3_Corporate Presentation Template (4x3 - Normal)</vt:lpstr>
      <vt:lpstr>think-cell Slide</vt:lpstr>
      <vt:lpstr>SSRS</vt:lpstr>
      <vt:lpstr>Lesson Objectives</vt:lpstr>
      <vt:lpstr>7.1: New Features in SSRS 2012 New Features in SSRS 2012</vt:lpstr>
      <vt:lpstr>7.1: New Features in SSRS 2012 New Features in SSRS 2012 (Contd…)</vt:lpstr>
      <vt:lpstr>7.1: New Features in SSRS 2012 New Features in SSRS 2012 (Contd…)</vt:lpstr>
      <vt:lpstr>7.1: New Features in SSRS 2012 New Features in SSRS 2012 (Contd…)</vt:lpstr>
      <vt:lpstr>7.2: Report Server Report Server</vt:lpstr>
      <vt:lpstr>7.2: Report Server Report Server (Contd…)</vt:lpstr>
      <vt:lpstr>7.3: Configuring SQL Server 2012 Reporting Services Configuring SSRS</vt:lpstr>
      <vt:lpstr>7.3: Configuring SQL Server 2012 Reporting Services Configuring SSRS (Contd…)</vt:lpstr>
      <vt:lpstr>7.3: Configuring SQL Server 2012 Reporting Services Configuring SSRS (Contd…)</vt:lpstr>
      <vt:lpstr>7.3: Configuring SQL Server 2012 Reporting Services Configuring SSRS (Contd…)</vt:lpstr>
      <vt:lpstr>7.3: Configuring SQL Server 2012 Reporting Services Configuring SSRS (Contd…)</vt:lpstr>
      <vt:lpstr>7.3: Configuring SQL Server 2012 Reporting Services Configuring SSRS (Contd…)</vt:lpstr>
      <vt:lpstr>7.3: Configuring SQL Server 2012 Reporting Services Configuring SSRS (Contd…)</vt:lpstr>
      <vt:lpstr>7.4: Report Manager Report Manager User Interface</vt:lpstr>
      <vt:lpstr>7.5: Working with Report Builder 3.0 Tabular Report using Report Builder</vt:lpstr>
      <vt:lpstr>7.5: Working with Report Builder 3.0 Tabular Report using Report Builder</vt:lpstr>
      <vt:lpstr>7.5: Working with Report Builder 3.0 List Report using Report Builder</vt:lpstr>
      <vt:lpstr>7.5: Working with Report Builder 3.0 Sub Report using Report Builder with Parameter</vt:lpstr>
      <vt:lpstr>7.5: Working with Report Builder 3.0 Displaying DataBar using Report Builder</vt:lpstr>
      <vt:lpstr>7.5: Working with Report Builder 3.0 Demo</vt:lpstr>
      <vt:lpstr>Summary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Kulkarni, Rahul</cp:lastModifiedBy>
  <cp:revision>192</cp:revision>
  <dcterms:created xsi:type="dcterms:W3CDTF">2012-05-18T02:59:15Z</dcterms:created>
  <dcterms:modified xsi:type="dcterms:W3CDTF">2017-01-18T07:4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BBB9BED16EB0048B4DF793E653FA3A1</vt:lpwstr>
  </property>
</Properties>
</file>